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notesSlides/notesSlide4.xml" ContentType="application/vnd.openxmlformats-officedocument.presentationml.notesSlide+xml"/>
  <Override PartName="/ppt/tags/tag9.xml" ContentType="application/vnd.openxmlformats-officedocument.presentationml.tags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656" r:id="rId2"/>
    <p:sldId id="840" r:id="rId3"/>
    <p:sldId id="919" r:id="rId4"/>
    <p:sldId id="918" r:id="rId5"/>
    <p:sldId id="921" r:id="rId6"/>
    <p:sldId id="920" r:id="rId7"/>
  </p:sldIdLst>
  <p:sldSz cx="12192000" cy="6858000"/>
  <p:notesSz cx="6805613" cy="99441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48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80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0073B8"/>
    <a:srgbClr val="6D86C4"/>
    <a:srgbClr val="FF4747"/>
    <a:srgbClr val="2D2B8D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70" d="100"/>
          <a:sy n="70" d="100"/>
        </p:scale>
        <p:origin x="660" y="54"/>
      </p:cViewPr>
      <p:guideLst>
        <p:guide pos="279"/>
        <p:guide pos="3840"/>
        <p:guide pos="7355"/>
        <p:guide orient="horz" pos="3203"/>
        <p:guide orient="horz" pos="3748"/>
        <p:guide orient="horz" pos="1525"/>
        <p:guide pos="1980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29.07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753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865603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904822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708589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445317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7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29.07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jpe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3.png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Relationship Id="rId9" Type="http://schemas.openxmlformats.org/officeDocument/2006/relationships/image" Target="NUL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9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56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АВГУСТА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1258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78260" y="1907468"/>
            <a:ext cx="4191455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95000"/>
              </a:lnSpc>
            </a:pP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особия </a:t>
            </a:r>
            <a:b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r>
              <a:rPr lang="ru-RU" sz="3200" b="1" spc="-40" dirty="0" smtClean="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 линиям УМК</a:t>
            </a:r>
            <a:endParaRPr lang="ru-RU" sz="3200" b="1" spc="-40" dirty="0"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00000000-1234-1234-1234-123412341234}" type="slidenum">
              <a:rPr lang="en" sz="1100" smtClean="0">
                <a:solidFill>
                  <a:schemeClr val="bg1">
                    <a:lumMod val="8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/>
              <a:t>2</a:t>
            </a:fld>
            <a:endParaRPr lang="en" sz="1100" dirty="0">
              <a:solidFill>
                <a:schemeClr val="bg1">
                  <a:lumMod val="8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8419693" y="1765755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endParaRPr lang="ru-RU" sz="1400" dirty="0" smtClean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27" name="Группа 26"/>
          <p:cNvGrpSpPr/>
          <p:nvPr/>
        </p:nvGrpSpPr>
        <p:grpSpPr>
          <a:xfrm>
            <a:off x="7691353" y="1738288"/>
            <a:ext cx="728340" cy="728336"/>
            <a:chOff x="7559745" y="1617031"/>
            <a:chExt cx="728340" cy="728336"/>
          </a:xfrm>
        </p:grpSpPr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32" name="Рисунок 31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34" name="Прямоугольник 33"/>
          <p:cNvSpPr/>
          <p:nvPr/>
        </p:nvSpPr>
        <p:spPr>
          <a:xfrm>
            <a:off x="8566780" y="2054139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Дидактические материалы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8566780" y="3301795"/>
            <a:ext cx="3170545" cy="21544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r>
              <a:rPr lang="ru-RU" sz="1400" dirty="0" smtClean="0"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Сборники вопросов и задач</a:t>
            </a:r>
            <a:endParaRPr lang="ru-RU" sz="1400" dirty="0"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grpSp>
        <p:nvGrpSpPr>
          <p:cNvPr id="18" name="Группа 17"/>
          <p:cNvGrpSpPr/>
          <p:nvPr/>
        </p:nvGrpSpPr>
        <p:grpSpPr>
          <a:xfrm>
            <a:off x="7579948" y="3036756"/>
            <a:ext cx="728340" cy="728336"/>
            <a:chOff x="7559745" y="1617031"/>
            <a:chExt cx="728340" cy="728336"/>
          </a:xfrm>
        </p:grpSpPr>
        <p:sp>
          <p:nvSpPr>
            <p:cNvPr id="19" name="Овал 18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algn="ctr"/>
              <a:endParaRPr lang="ru-RU" sz="2800" dirty="0">
                <a:solidFill>
                  <a:schemeClr val="bg1">
                    <a:lumMod val="85000"/>
                  </a:schemeClr>
                </a:solidFill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0" name="Рисунок 19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597786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9330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703816" y="1605618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зика. Дидактические материалы. 7,8,9 классы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58540" y="5508485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216-0188-01, 216-0189-01, 216-0190-01</a:t>
            </a: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 smtClean="0">
                <a:latin typeface="+mn-lt"/>
              </a:rPr>
              <a:t>60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90</a:t>
            </a:r>
            <a:r>
              <a:rPr lang="en-US" b="0" dirty="0" smtClean="0"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1/16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, 128</a:t>
            </a: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стр., 1 краска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710411" y="2556450"/>
            <a:ext cx="5859682" cy="3223959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</a:pPr>
            <a:r>
              <a:rPr lang="ru-RU" sz="1400" dirty="0" smtClean="0"/>
              <a:t>Пособия содержат:</a:t>
            </a:r>
            <a:endParaRPr lang="en-US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тренировочные задания по всем разделам курса физики содержат набор качественных, экспериментальных и графических задач, </a:t>
            </a:r>
            <a:endParaRPr lang="en-US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тесты </a:t>
            </a:r>
            <a:r>
              <a:rPr lang="ru-RU" sz="1400" dirty="0"/>
              <a:t>для </a:t>
            </a:r>
            <a:r>
              <a:rPr lang="ru-RU" sz="1400" dirty="0" smtClean="0"/>
              <a:t>самоконтроля с выбором ответа для проведения оперативного поурочного тематического контроля,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самостоятельные работы включают несколько вариантов и рассчитаны примерно на 20 минут каждая, 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 smtClean="0"/>
              <a:t>контрольные </a:t>
            </a:r>
            <a:r>
              <a:rPr lang="ru-RU" sz="1400" dirty="0"/>
              <a:t>работы и примеры решения задач</a:t>
            </a:r>
            <a:r>
              <a:rPr lang="ru-RU" sz="1400" dirty="0" smtClean="0"/>
              <a:t>.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 smtClean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8540" y="512568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</a:t>
            </a:r>
            <a:r>
              <a:rPr lang="en-US" dirty="0"/>
              <a:t> </a:t>
            </a:r>
            <a:r>
              <a:rPr lang="ru-RU" dirty="0" err="1" smtClean="0"/>
              <a:t>Перышкина</a:t>
            </a:r>
            <a:r>
              <a:rPr lang="ru-RU" dirty="0" smtClean="0"/>
              <a:t> И.М.-Иванова А.И. Физика (7-9)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710411" y="1902657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рон А.Е., Марон Е.А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15933" y="2261139"/>
            <a:ext cx="1978926" cy="303963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4822" y="1605618"/>
            <a:ext cx="1924682" cy="312605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2151612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8326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703816" y="1605618"/>
            <a:ext cx="6382195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Физика. Сборник вопросов и задач. 7,8</a:t>
            </a:r>
            <a:r>
              <a:rPr lang="en-US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,9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классы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42912" y="5399312"/>
            <a:ext cx="2952751" cy="6261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216-0192-01, 216-0193-01</a:t>
            </a:r>
            <a:r>
              <a:rPr lang="en-US" b="0" dirty="0" smtClean="0">
                <a:latin typeface="+mn-lt"/>
              </a:rPr>
              <a:t>, </a:t>
            </a:r>
            <a:r>
              <a:rPr lang="ru-RU" b="0" dirty="0" smtClean="0">
                <a:latin typeface="+mn-lt"/>
              </a:rPr>
              <a:t>216-019</a:t>
            </a:r>
            <a:r>
              <a:rPr lang="en-US" b="0" dirty="0" smtClean="0">
                <a:latin typeface="+mn-lt"/>
              </a:rPr>
              <a:t>4</a:t>
            </a:r>
            <a:r>
              <a:rPr lang="ru-RU" b="0" dirty="0" smtClean="0">
                <a:latin typeface="+mn-lt"/>
              </a:rPr>
              <a:t>-01</a:t>
            </a:r>
            <a:endParaRPr lang="ru-RU" b="0" dirty="0">
              <a:latin typeface="+mn-lt"/>
            </a:endParaRP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 </a:t>
            </a:r>
            <a:r>
              <a:rPr lang="ru-RU" b="0" dirty="0" smtClean="0">
                <a:latin typeface="+mn-lt"/>
              </a:rPr>
              <a:t>60</a:t>
            </a:r>
            <a:r>
              <a:rPr lang="ru-RU" b="0" dirty="0" smtClean="0">
                <a:latin typeface="+mn-lt"/>
                <a:sym typeface="Wingdings 2" panose="05020102010507070707" pitchFamily="18" charset="2"/>
              </a:rPr>
              <a:t>90</a:t>
            </a:r>
            <a:r>
              <a:rPr lang="en-US" b="0" dirty="0" smtClean="0">
                <a:latin typeface="+mn-lt"/>
              </a:rPr>
              <a:t> </a:t>
            </a:r>
            <a:r>
              <a:rPr lang="ru-RU" b="0" dirty="0" smtClean="0">
                <a:latin typeface="+mn-lt"/>
              </a:rPr>
              <a:t>1/16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, 96/160/144</a:t>
            </a: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стр., </a:t>
            </a:r>
            <a:b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</a:br>
            <a:r>
              <a:rPr kumimoji="0" lang="ru-RU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1 краска</a:t>
            </a:r>
            <a:endParaRPr kumimoji="0" lang="ru-RU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710411" y="2853489"/>
            <a:ext cx="5859682" cy="178510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особия содержат вопросы и задачи различной направленности: расчетные, качественные и графические; технического, практического и исторического характера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В каждой теме имеется раздел «Задачи-исследования», </a:t>
            </a:r>
            <a:r>
              <a:rPr lang="ru-RU" sz="1400" dirty="0" smtClean="0"/>
              <a:t>которые дают </a:t>
            </a:r>
            <a:r>
              <a:rPr lang="ru-RU" sz="1400" dirty="0"/>
              <a:t>возможность глубже проанализировать физические закономерности, понять сущность физических явлений и процессов</a:t>
            </a:r>
          </a:p>
          <a:p>
            <a:pPr marL="285750" indent="-285750">
              <a:spcBef>
                <a:spcPts val="600"/>
              </a:spcBef>
              <a:spcAft>
                <a:spcPts val="3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en-US" sz="1400" dirty="0"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458540" y="512568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УМК</a:t>
            </a:r>
            <a:r>
              <a:rPr lang="en-US" dirty="0"/>
              <a:t> </a:t>
            </a:r>
            <a:r>
              <a:rPr lang="ru-RU" dirty="0" err="1" smtClean="0"/>
              <a:t>Перышкина</a:t>
            </a:r>
            <a:r>
              <a:rPr lang="ru-RU" dirty="0" smtClean="0"/>
              <a:t> И.М.-Иванова А.И. Физика (7-9)</a:t>
            </a:r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710411" y="1867228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pPr>
              <a:spcAft>
                <a:spcPts val="0"/>
              </a:spcAft>
            </a:pP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арон А.Е., Марон Е.А., </a:t>
            </a:r>
            <a:r>
              <a:rPr lang="ru-RU" sz="1400" b="1" dirty="0" err="1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Позойский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 С.В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01653" y="2024763"/>
            <a:ext cx="1992288" cy="3060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2913" y="1592263"/>
            <a:ext cx="1992275" cy="306000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</p:spPr>
      </p:pic>
    </p:spTree>
    <p:extLst>
      <p:ext uri="{BB962C8B-B14F-4D97-AF65-F5344CB8AC3E}">
        <p14:creationId xmlns:p14="http://schemas.microsoft.com/office/powerpoint/2010/main" val="7657449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381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21DBF65-A5EE-42BD-A8DA-21D7B69EA723}"/>
              </a:ext>
            </a:extLst>
          </p:cNvPr>
          <p:cNvSpPr txBox="1"/>
          <p:nvPr/>
        </p:nvSpPr>
        <p:spPr>
          <a:xfrm>
            <a:off x="1717731" y="2129838"/>
            <a:ext cx="460754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ррекционная педагогика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0" name="Группа 9"/>
          <p:cNvGrpSpPr/>
          <p:nvPr/>
        </p:nvGrpSpPr>
        <p:grpSpPr>
          <a:xfrm>
            <a:off x="7483075" y="2144345"/>
            <a:ext cx="728340" cy="728336"/>
            <a:chOff x="7559745" y="1617031"/>
            <a:chExt cx="728340" cy="728336"/>
          </a:xfrm>
        </p:grpSpPr>
        <p:sp>
          <p:nvSpPr>
            <p:cNvPr id="11" name="Овал 10">
              <a:extLst>
                <a:ext uri="{FF2B5EF4-FFF2-40B4-BE49-F238E27FC236}">
                  <a16:creationId xmlns:a16="http://schemas.microsoft.com/office/drawing/2014/main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2" name="Рисунок 11" descr="Попасть в яблочко">
              <a:extLst>
                <a:ext uri="{FF2B5EF4-FFF2-40B4-BE49-F238E27FC236}">
                  <a16:creationId xmlns:a16="http://schemas.microsoft.com/office/drawing/2014/main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3" name="Прямоугольник 12"/>
          <p:cNvSpPr/>
          <p:nvPr/>
        </p:nvSpPr>
        <p:spPr>
          <a:xfrm>
            <a:off x="8419694" y="2458472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Рабочие тетрад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2494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3405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Прямоугольник 23"/>
          <p:cNvSpPr/>
          <p:nvPr/>
        </p:nvSpPr>
        <p:spPr>
          <a:xfrm>
            <a:off x="4118632" y="1603827"/>
            <a:ext cx="7870415" cy="477054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Чтение. Рабочая тетрадь. 3 класс. В 2 частях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(</a:t>
            </a:r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для обучающихся с интеллектуальными нарушениями)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442913" y="5503388"/>
            <a:ext cx="2952751" cy="441465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35718" tIns="35718" rIns="35718" bIns="35718" numCol="1" spcCol="38100" rtlCol="0" anchor="ctr">
            <a:spAutoFit/>
          </a:bodyPr>
          <a:lstStyle>
            <a:defPPr>
              <a:defRPr lang="ru-RU"/>
            </a:defPPr>
            <a:lvl1pPr>
              <a:defRPr sz="1200" b="1"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defRPr>
            </a:lvl1pPr>
          </a:lstStyle>
          <a:p>
            <a:pPr lvl="0"/>
            <a:r>
              <a:rPr lang="ru-RU" dirty="0">
                <a:solidFill>
                  <a:prstClr val="black"/>
                </a:solidFill>
                <a:latin typeface="+mn-lt"/>
              </a:rPr>
              <a:t>Код</a:t>
            </a:r>
            <a:r>
              <a:rPr lang="ru-RU" dirty="0" smtClean="0">
                <a:solidFill>
                  <a:prstClr val="black"/>
                </a:solidFill>
                <a:latin typeface="+mn-lt"/>
              </a:rPr>
              <a:t>:  </a:t>
            </a:r>
            <a:r>
              <a:rPr lang="ru-RU" b="0" dirty="0" smtClean="0">
                <a:latin typeface="+mn-lt"/>
              </a:rPr>
              <a:t>40-0675-01; 40-1275-01  </a:t>
            </a:r>
          </a:p>
          <a:p>
            <a:pPr lvl="0"/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lt"/>
              </a:rPr>
              <a:t>Параметры:</a:t>
            </a:r>
            <a:r>
              <a:rPr lang="en-US" b="0" dirty="0" smtClean="0">
                <a:solidFill>
                  <a:prstClr val="black"/>
                </a:solidFill>
                <a:latin typeface="+mn-lt"/>
              </a:rPr>
              <a:t> </a:t>
            </a:r>
            <a:r>
              <a:rPr lang="ru-RU" b="0" dirty="0">
                <a:latin typeface="+mn-lt"/>
              </a:rPr>
              <a:t>84*108/16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,  96 стр</a:t>
            </a:r>
            <a:r>
              <a:rPr lang="ru-RU" b="0" dirty="0">
                <a:solidFill>
                  <a:prstClr val="black"/>
                </a:solidFill>
                <a:latin typeface="+mn-lt"/>
              </a:rPr>
              <a:t>., 1</a:t>
            </a:r>
            <a:r>
              <a:rPr lang="ru-RU" b="0" dirty="0" smtClean="0">
                <a:solidFill>
                  <a:prstClr val="black"/>
                </a:solidFill>
                <a:latin typeface="+mn-lt"/>
              </a:rPr>
              <a:t> краска.</a:t>
            </a:r>
            <a:endParaRPr lang="ru-RU" b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4118632" y="2667033"/>
            <a:ext cx="7257300" cy="3698448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dirty="0"/>
              <a:t>Рабочая тетрадь предназначена для детей с ограниченными возможностями здоровья и обеспечивает реализацию требований адаптированной основной общеобразовательной программы в предметной области «Язык и речевая практика» в соответствии с ФГОС образования обучающихся с интеллектуальными нарушениями</a:t>
            </a:r>
            <a:r>
              <a:rPr lang="ru-RU" sz="1400" dirty="0" smtClean="0"/>
              <a:t>.</a:t>
            </a:r>
          </a:p>
          <a:p>
            <a:endParaRPr lang="ru-RU" sz="1400" dirty="0"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Содержание рабочей тетради соответствует разделам учебника по чтению для 3 класса и включает систему заданий для самостоятельной работы учащихся. 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Задания направлены на достижение предметных результатов: </a:t>
            </a:r>
            <a:r>
              <a:rPr lang="ru-RU" sz="1400" dirty="0" err="1"/>
              <a:t>сформированности</a:t>
            </a:r>
            <a:r>
              <a:rPr lang="ru-RU" sz="1400" dirty="0"/>
              <a:t> навыков правильного чтения по слогам и целыми словами, осознанности чтения, развития навыков заучивания наизусть и выразительного чтения стихотворений, рассказов, сказок. 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Задания дифференцированы по степени сложности, чтобы обеспечить предусмотренные программой уровни усвоения предметного материала: минимальный и достаточный.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endParaRPr lang="ru-RU" sz="1400" dirty="0"/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Тетрадь может быть использована как на уроке для выполнения заданий под руководством учителя, так и во внеурочное время.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57616" y="405373"/>
            <a:ext cx="11322947" cy="79778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/>
              <a:t>Линия </a:t>
            </a:r>
            <a:r>
              <a:rPr lang="ru-RU" dirty="0" smtClean="0"/>
              <a:t>УМК </a:t>
            </a:r>
            <a:r>
              <a:rPr lang="ru-RU" dirty="0"/>
              <a:t>Чтение (2-4) </a:t>
            </a:r>
            <a:endParaRPr lang="ru-RU" dirty="0" smtClean="0"/>
          </a:p>
          <a:p>
            <a:pPr>
              <a:lnSpc>
                <a:spcPct val="80000"/>
              </a:lnSpc>
            </a:pPr>
            <a:r>
              <a:rPr lang="ru-RU" dirty="0" smtClean="0"/>
              <a:t>(</a:t>
            </a:r>
            <a:r>
              <a:rPr lang="ru-RU" dirty="0"/>
              <a:t>для обучающихся с интеллектуальными нарушениями)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4118632" y="2159328"/>
            <a:ext cx="4038442" cy="261610"/>
          </a:xfrm>
          <a:prstGeom prst="rect">
            <a:avLst/>
          </a:prstGeom>
        </p:spPr>
        <p:txBody>
          <a:bodyPr wrap="square" lIns="45719" tIns="22860" rIns="45719" bIns="22860">
            <a:spAutoFit/>
          </a:bodyPr>
          <a:lstStyle/>
          <a:p>
            <a:r>
              <a:rPr lang="ru-RU" sz="1400" b="1" dirty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Головкина Т. </a:t>
            </a:r>
            <a:r>
              <a:rPr lang="ru-RU" sz="1400" b="1" dirty="0" smtClean="0">
                <a:solidFill>
                  <a:srgbClr val="003399"/>
                </a:solidFill>
                <a:ea typeface="Open Sans Light" panose="020B0306030504020204" pitchFamily="34" charset="0"/>
                <a:cs typeface="Open Sans Light" panose="020B0306030504020204" pitchFamily="34" charset="0"/>
              </a:rPr>
              <a:t>М.</a:t>
            </a:r>
            <a:endParaRPr lang="ru-RU" sz="1400" b="1" dirty="0">
              <a:solidFill>
                <a:srgbClr val="003399"/>
              </a:solidFill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84" y="1603826"/>
            <a:ext cx="2590818" cy="34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795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761</TotalTime>
  <Words>400</Words>
  <Application>Microsoft Office PowerPoint</Application>
  <PresentationFormat>Широкоэкранный</PresentationFormat>
  <Paragraphs>48</Paragraphs>
  <Slides>6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6" baseType="lpstr">
      <vt:lpstr>Arial</vt:lpstr>
      <vt:lpstr>Calibri</vt:lpstr>
      <vt:lpstr>Calibri Light</vt:lpstr>
      <vt:lpstr>Open Sans</vt:lpstr>
      <vt:lpstr>Open Sans Extrabold</vt:lpstr>
      <vt:lpstr>Open Sans Light</vt:lpstr>
      <vt:lpstr>Wingdings</vt:lpstr>
      <vt:lpstr>Wingdings 2</vt:lpstr>
      <vt:lpstr>Тема Office</vt:lpstr>
      <vt:lpstr>Слайд think-cell</vt:lpstr>
      <vt:lpstr>НОВИНКИ АВГУСТА 2021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Полуэктова Оксана Сергеевна</cp:lastModifiedBy>
  <cp:revision>1197</cp:revision>
  <cp:lastPrinted>2021-03-09T13:01:30Z</cp:lastPrinted>
  <dcterms:created xsi:type="dcterms:W3CDTF">2018-07-24T05:59:49Z</dcterms:created>
  <dcterms:modified xsi:type="dcterms:W3CDTF">2021-07-29T11:43:39Z</dcterms:modified>
</cp:coreProperties>
</file>